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648" r:id="rId2"/>
    <p:sldId id="653" r:id="rId3"/>
    <p:sldId id="656" r:id="rId4"/>
    <p:sldId id="655" r:id="rId5"/>
    <p:sldId id="654" r:id="rId6"/>
    <p:sldId id="657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6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2178C2A-B2ED-462D-B017-A5AB222B0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83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2178C2A-B2ED-462D-B017-A5AB222B0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9A3FE19-2744-46B1-BBF9-FA91FF1F77DA}"/>
              </a:ext>
            </a:extLst>
          </p:cNvPr>
          <p:cNvGrpSpPr/>
          <p:nvPr userDrawn="1"/>
        </p:nvGrpSpPr>
        <p:grpSpPr>
          <a:xfrm>
            <a:off x="0" y="-8389"/>
            <a:ext cx="12192000" cy="6858000"/>
            <a:chOff x="0" y="-8389"/>
            <a:chExt cx="12192000" cy="68580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52FAAC-F21C-49CA-BAC8-DBF3CE3931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8389"/>
              <a:ext cx="12192000" cy="685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AB19739-C9BB-4102-98A7-A3650B1F95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8247" y="3352801"/>
              <a:ext cx="1316884" cy="343142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800" y="512763"/>
            <a:ext cx="5207000" cy="566737"/>
          </a:xfrm>
        </p:spPr>
        <p:txBody>
          <a:bodyPr vert="horz" anchor="t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F22748D-F1B4-4793-8FB9-CE33AF8749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435100"/>
            <a:ext cx="5207000" cy="1244600"/>
          </a:xfrm>
        </p:spPr>
        <p:txBody>
          <a:bodyPr>
            <a:noAutofit/>
          </a:bodyPr>
          <a:lstStyle>
            <a:lvl1pPr marL="0" indent="0">
              <a:buNone/>
              <a:defRPr sz="3600"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4944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2805E6-0A2D-4D92-A9E1-F6C130B852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0899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5" imgW="353" imgH="359" progId="TCLayout.ActiveDocument.1">
                  <p:embed/>
                </p:oleObj>
              </mc:Choice>
              <mc:Fallback>
                <p:oleObj name="think-cell Slide" r:id="rId5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2805E6-0A2D-4D92-A9E1-F6C130B85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9EFD85-4418-4D4A-BB0C-D235961837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568" y="365125"/>
            <a:ext cx="11484864" cy="682752"/>
          </a:xfrm>
        </p:spPr>
        <p:txBody>
          <a:bodyPr vert="horz">
            <a:noAutofit/>
          </a:bodyPr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934B29-C237-4AE7-A018-9DC622B3D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212023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8326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09A0C3-B441-4E73-B762-0C1FD21A4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314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09A0C3-B441-4E73-B762-0C1FD21A4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61AE3C-3C7F-478C-BB93-0A9FE8AC7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0E73C3-35EA-49F7-AB7E-CF57A5EE98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36D486-FB90-4F67-97A4-777F0EBC4275}"/>
              </a:ext>
            </a:extLst>
          </p:cNvPr>
          <p:cNvGrpSpPr/>
          <p:nvPr userDrawn="1"/>
        </p:nvGrpSpPr>
        <p:grpSpPr>
          <a:xfrm>
            <a:off x="0" y="-11185"/>
            <a:ext cx="12192000" cy="6858000"/>
            <a:chOff x="0" y="-8389"/>
            <a:chExt cx="12192000" cy="6858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738D7C-833F-4C7C-9E06-E05BB764B3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8389"/>
              <a:ext cx="12192000" cy="68580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2227D39-0E7A-4FEC-9755-444C857CE6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7834" y="3429001"/>
              <a:ext cx="1635767" cy="31967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4929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2805E6-0A2D-4D92-A9E1-F6C130B852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5415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" name="think-cell Slide" r:id="rId5" imgW="353" imgH="359" progId="TCLayout.ActiveDocument.1">
                  <p:embed/>
                </p:oleObj>
              </mc:Choice>
              <mc:Fallback>
                <p:oleObj name="think-cell Slide" r:id="rId5" imgW="353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2805E6-0A2D-4D92-A9E1-F6C130B85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9EFD85-4418-4D4A-BB0C-D235961837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33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557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1533" y="365125"/>
            <a:ext cx="11468527" cy="6826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1533" y="1825625"/>
            <a:ext cx="1146852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611312-E18F-4F43-9147-BF06BD6EAD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143960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9" imgW="353" imgH="359" progId="TCLayout.ActiveDocument.1">
                  <p:embed/>
                </p:oleObj>
              </mc:Choice>
              <mc:Fallback>
                <p:oleObj name="think-cell Slide" r:id="rId9" imgW="353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611312-E18F-4F43-9147-BF06BD6EA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722FBF1-1A34-4C00-9586-9500F0A4705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67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DCE036B5-892C-42BF-8BEC-342BE5769170}"/>
              </a:ext>
            </a:extLst>
          </p:cNvPr>
          <p:cNvSpPr/>
          <p:nvPr userDrawn="1"/>
        </p:nvSpPr>
        <p:spPr>
          <a:xfrm>
            <a:off x="11362861" y="6474563"/>
            <a:ext cx="457200" cy="281837"/>
          </a:xfrm>
          <a:prstGeom prst="round2SameRect">
            <a:avLst>
              <a:gd name="adj1" fmla="val 23426"/>
              <a:gd name="adj2" fmla="val 0"/>
            </a:avLst>
          </a:prstGeom>
          <a:solidFill>
            <a:srgbClr val="E227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3AF54C-4023-416F-9B2C-4A177C1A9E6C}"/>
              </a:ext>
            </a:extLst>
          </p:cNvPr>
          <p:cNvSpPr txBox="1"/>
          <p:nvPr userDrawn="1"/>
        </p:nvSpPr>
        <p:spPr>
          <a:xfrm>
            <a:off x="11346523" y="6474647"/>
            <a:ext cx="48987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DF408F7A-B94C-44C3-AED2-D20BB3D05E6C}" type="slidenum">
              <a:rPr lang="en-US" sz="120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EF16C0-B064-4A5B-8723-97AC88FA87AD}"/>
              </a:ext>
            </a:extLst>
          </p:cNvPr>
          <p:cNvSpPr/>
          <p:nvPr userDrawn="1"/>
        </p:nvSpPr>
        <p:spPr>
          <a:xfrm>
            <a:off x="1" y="6756400"/>
            <a:ext cx="12191999" cy="101600"/>
          </a:xfrm>
          <a:prstGeom prst="rect">
            <a:avLst/>
          </a:prstGeom>
          <a:solidFill>
            <a:srgbClr val="E227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320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908AB7E0-D1C7-48EF-9E67-0E831FD74B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36" y="6195729"/>
            <a:ext cx="949664" cy="50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1511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abq.gov/dfa/purchasing-division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cabq.bonfirehub.com/portal/?tab=login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bq.gov/dfa/purchasing-division/vendor-services" TargetMode="External"/><Relationship Id="rId2" Type="http://schemas.openxmlformats.org/officeDocument/2006/relationships/hyperlink" Target="https://www.cabq.gov/dfa/purchasing-division/solicitations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jlbradley@cabq.gov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19FB6B-93CA-49EA-873E-1F45F12822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4" imgW="353" imgH="359" progId="TCLayout.ActiveDocument.1">
                  <p:embed/>
                </p:oleObj>
              </mc:Choice>
              <mc:Fallback>
                <p:oleObj name="think-cell Slide" r:id="rId4" imgW="353" imgH="3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19FB6B-93CA-49EA-873E-1F45F12822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7E26FD-A76C-4490-8EF6-050C4165C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1100" y="481767"/>
            <a:ext cx="5207000" cy="1623870"/>
          </a:xfrm>
        </p:spPr>
        <p:txBody>
          <a:bodyPr vert="horz">
            <a:noAutofit/>
          </a:bodyPr>
          <a:lstStyle/>
          <a:p>
            <a:pPr algn="ctr"/>
            <a:br>
              <a:rPr lang="en-US" sz="2400" b="1" dirty="0">
                <a:latin typeface="+mn-lt"/>
              </a:rPr>
            </a:br>
            <a:r>
              <a:rPr lang="en-US" sz="2400" b="1" dirty="0">
                <a:latin typeface="+mn-lt"/>
              </a:rPr>
              <a:t>DOING BUSINESS WITH THE CITY’S</a:t>
            </a:r>
            <a:br>
              <a:rPr lang="en-US" sz="2400" b="1" dirty="0">
                <a:latin typeface="+mn-lt"/>
              </a:rPr>
            </a:br>
            <a:r>
              <a:rPr lang="en-US" sz="2400" b="1" dirty="0">
                <a:latin typeface="+mn-lt"/>
              </a:rPr>
              <a:t>CENTRAL PURCHASING DIVIS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178D940-0257-4D71-98A8-E0A6A5B2C2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728" y="5357991"/>
            <a:ext cx="1329979" cy="132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577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9B6AA-5B1F-2DBC-CC46-099F7F8EF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FAS Purchasing Division-Who We 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1FB2E-D459-5D1A-ED3A-C1B5A9C3C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3930307"/>
          </a:xfrm>
        </p:spPr>
        <p:txBody>
          <a:bodyPr/>
          <a:lstStyle/>
          <a:p>
            <a:r>
              <a:rPr lang="en-US" sz="3200" dirty="0"/>
              <a:t>The Purchasing Division serves as the Central Purchasing Office for the City of Albuquerque. The Division services all of the City Departments' goods, services, and professional/technical service needs.</a:t>
            </a:r>
          </a:p>
          <a:p>
            <a:r>
              <a:rPr lang="en-US" sz="3200" dirty="0"/>
              <a:t>We are “home rule” and governed by the Public Purchases Ordinance, 5-5-1 et seq.</a:t>
            </a:r>
          </a:p>
          <a:p>
            <a:r>
              <a:rPr lang="en-US" sz="3200" dirty="0">
                <a:hlinkClick r:id="rId2"/>
              </a:rPr>
              <a:t>https://www.cabq.gov/dfa/purchasing-division</a:t>
            </a:r>
            <a:r>
              <a:rPr lang="en-US" sz="3200" dirty="0"/>
              <a:t> 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31606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9B6AA-5B1F-2DBC-CC46-099F7F8EF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ease Register With Us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1FB2E-D459-5D1A-ED3A-C1B5A9C3C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4086283"/>
          </a:xfrm>
        </p:spPr>
        <p:txBody>
          <a:bodyPr/>
          <a:lstStyle/>
          <a:p>
            <a:r>
              <a:rPr lang="en-US" sz="3600" dirty="0"/>
              <a:t>The Purchasing Division uses an on-line solicitation system called Bonfire.</a:t>
            </a:r>
          </a:p>
          <a:p>
            <a:r>
              <a:rPr lang="en-US" sz="3600" dirty="0"/>
              <a:t>We post all of our RFBs/RFPs to this site. </a:t>
            </a:r>
          </a:p>
          <a:p>
            <a:r>
              <a:rPr lang="en-US" sz="3600" dirty="0"/>
              <a:t>Register so you receive notice of our upcoming solicitations:</a:t>
            </a:r>
          </a:p>
          <a:p>
            <a:r>
              <a:rPr lang="en-US" sz="3600" u="sng" dirty="0">
                <a:hlinkClick r:id="rId2"/>
              </a:rPr>
              <a:t>https://cabq.bonfirehub.com/portal/?tab=login</a:t>
            </a:r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7330663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9B6AA-5B1F-2DBC-CC46-099F7F8EF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ies within Central Purchas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1FB2E-D459-5D1A-ED3A-C1B5A9C3C1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4000069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Electrical Services (Pool)*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HVAC (Pool)*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Roof Maintenance &amp; Repair (Pool)*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lumbing Services*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Projects Using New Mexico State Price Agreements or Cooperative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EV Charging Installat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Renewable Energy Related Projects</a:t>
            </a:r>
          </a:p>
          <a:p>
            <a:pPr marL="0" indent="0">
              <a:buNone/>
            </a:pPr>
            <a:r>
              <a:rPr lang="en-US" dirty="0"/>
              <a:t>*</a:t>
            </a:r>
            <a:r>
              <a:rPr lang="en-US" sz="1600" dirty="0"/>
              <a:t>Currently have contracts in place that were awarded from RFBs</a:t>
            </a:r>
          </a:p>
        </p:txBody>
      </p:sp>
    </p:spTree>
    <p:extLst>
      <p:ext uri="{BB962C8B-B14F-4D97-AF65-F5344CB8AC3E}">
        <p14:creationId xmlns:p14="http://schemas.microsoft.com/office/powerpoint/2010/main" val="626599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E6F0D-B417-AB00-573A-D6236EACE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pful Links to Central Purchasing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6782B-C1C6-8014-2BEC-2C211C51E4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2451953"/>
          </a:xfrm>
        </p:spPr>
        <p:txBody>
          <a:bodyPr/>
          <a:lstStyle/>
          <a:p>
            <a:r>
              <a:rPr lang="en-US" dirty="0"/>
              <a:t>See our Quarterly Forecasts</a:t>
            </a:r>
          </a:p>
          <a:p>
            <a:r>
              <a:rPr lang="en-US" dirty="0"/>
              <a:t> </a:t>
            </a:r>
            <a:r>
              <a:rPr lang="en-US" dirty="0">
                <a:hlinkClick r:id="rId2"/>
              </a:rPr>
              <a:t>https://www.cabq.gov/dfa/purchasing-division/solicitations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Visit our Vendor Services link</a:t>
            </a:r>
          </a:p>
          <a:p>
            <a:r>
              <a:rPr lang="en-US" dirty="0">
                <a:hlinkClick r:id="rId3"/>
              </a:rPr>
              <a:t>https://www.cabq.gov/dfa/purchasing-division/vendor-services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8086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86782B-C1C6-8014-2BEC-2C211C51E4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536" y="1383339"/>
            <a:ext cx="11484864" cy="2379113"/>
          </a:xfrm>
        </p:spPr>
        <p:txBody>
          <a:bodyPr/>
          <a:lstStyle/>
          <a:p>
            <a:pPr marL="0" indent="0" algn="ctr">
              <a:buNone/>
            </a:pPr>
            <a:endParaRPr lang="en-US" sz="3600" dirty="0"/>
          </a:p>
          <a:p>
            <a:pPr marL="0" indent="0" algn="ctr">
              <a:buNone/>
            </a:pPr>
            <a:r>
              <a:rPr lang="en-US" sz="3600" dirty="0"/>
              <a:t>Jennifer Bradley, Chief Procurement Officer</a:t>
            </a:r>
          </a:p>
          <a:p>
            <a:pPr marL="0" indent="0" algn="ctr">
              <a:buNone/>
            </a:pPr>
            <a:r>
              <a:rPr lang="en-US" sz="3600" dirty="0"/>
              <a:t>(505) 768-3338</a:t>
            </a:r>
          </a:p>
          <a:p>
            <a:pPr marL="0" indent="0" algn="ctr">
              <a:buNone/>
            </a:pPr>
            <a:r>
              <a:rPr lang="en-US" sz="3600" dirty="0">
                <a:hlinkClick r:id="rId2"/>
              </a:rPr>
              <a:t>jlbradley@cabq.gov</a:t>
            </a:r>
            <a:r>
              <a:rPr lang="en-US" sz="3600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C713C8-1917-4984-BC19-152BEC3E6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513848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a1c8wX89NfzFoQEhz7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A6_wEMPKQU3lNMYPR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A6_wEMPKQU3lNMYPR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3</TotalTime>
  <Words>240</Words>
  <Application>Microsoft Office PowerPoint</Application>
  <PresentationFormat>Widescreen</PresentationFormat>
  <Paragraphs>3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Verdana</vt:lpstr>
      <vt:lpstr>1_Office Theme</vt:lpstr>
      <vt:lpstr>think-cell Slide</vt:lpstr>
      <vt:lpstr> DOING BUSINESS WITH THE CITY’S CENTRAL PURCHASING DIVISION</vt:lpstr>
      <vt:lpstr>DFAS Purchasing Division-Who We Are</vt:lpstr>
      <vt:lpstr>Please Register With Us!</vt:lpstr>
      <vt:lpstr>Opportunities within Central Purchasing</vt:lpstr>
      <vt:lpstr>Helpful Links to Central Purchasing Inform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ility Data by Department – Import to Energy Manager</dc:title>
  <dc:creator>Paige Mankey</dc:creator>
  <cp:lastModifiedBy>Turner, Jennifer L.</cp:lastModifiedBy>
  <cp:revision>86</cp:revision>
  <dcterms:created xsi:type="dcterms:W3CDTF">2021-10-26T22:09:17Z</dcterms:created>
  <dcterms:modified xsi:type="dcterms:W3CDTF">2022-06-14T16:25:18Z</dcterms:modified>
</cp:coreProperties>
</file>